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94" r:id="rId2"/>
    <p:sldId id="306" r:id="rId3"/>
    <p:sldId id="258" r:id="rId4"/>
    <p:sldId id="869" r:id="rId5"/>
    <p:sldId id="260" r:id="rId6"/>
    <p:sldId id="823" r:id="rId7"/>
    <p:sldId id="829" r:id="rId8"/>
    <p:sldId id="303" r:id="rId9"/>
    <p:sldId id="826" r:id="rId10"/>
    <p:sldId id="275" r:id="rId11"/>
    <p:sldId id="864" r:id="rId12"/>
    <p:sldId id="865" r:id="rId13"/>
    <p:sldId id="850" r:id="rId14"/>
    <p:sldId id="837" r:id="rId15"/>
    <p:sldId id="863" r:id="rId16"/>
    <p:sldId id="858" r:id="rId17"/>
    <p:sldId id="832" r:id="rId18"/>
    <p:sldId id="835" r:id="rId19"/>
    <p:sldId id="871" r:id="rId20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DF4"/>
    <a:srgbClr val="9EE0FE"/>
    <a:srgbClr val="D0D8E8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4660"/>
  </p:normalViewPr>
  <p:slideViewPr>
    <p:cSldViewPr>
      <p:cViewPr varScale="1">
        <p:scale>
          <a:sx n="91" d="100"/>
          <a:sy n="91" d="100"/>
        </p:scale>
        <p:origin x="1728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6" y="2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29187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41" tIns="45370" rIns="90741" bIns="4537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0741" tIns="45370" rIns="90741" bIns="4537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1287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6" y="9371287"/>
            <a:ext cx="2918830" cy="493315"/>
          </a:xfrm>
          <a:prstGeom prst="rect">
            <a:avLst/>
          </a:prstGeom>
        </p:spPr>
        <p:txBody>
          <a:bodyPr vert="horz" lIns="90741" tIns="45370" rIns="90741" bIns="4537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3317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8.11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22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1.png"/><Relationship Id="rId7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microsoft.com/office/2007/relationships/hdphoto" Target="../media/hdphoto1.wdp"/><Relationship Id="rId4" Type="http://schemas.openxmlformats.org/officeDocument/2006/relationships/image" Target="../media/image23.png"/><Relationship Id="rId9" Type="http://schemas.openxmlformats.org/officeDocument/2006/relationships/image" Target="../media/image2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8.jpeg"/><Relationship Id="rId7" Type="http://schemas.openxmlformats.org/officeDocument/2006/relationships/image" Target="../media/image30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gif"/><Relationship Id="rId5" Type="http://schemas.openxmlformats.org/officeDocument/2006/relationships/image" Target="../media/image18.png"/><Relationship Id="rId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mou45.ru/deyatel/berezhlivye-tekhnologii.php" TargetMode="External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1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12" Type="http://schemas.openxmlformats.org/officeDocument/2006/relationships/image" Target="../media/image1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13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2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Муниципальное бюджетное общеобразовательное учреждение</a:t>
            </a:r>
          </a:p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ОШ № 45 г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Челябинска»</a:t>
            </a: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323529" y="2381790"/>
            <a:ext cx="8452171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«СОШ № 45 г. Челябинска»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2"/>
          <p:cNvSpPr txBox="1">
            <a:spLocks noChangeArrowheads="1"/>
          </p:cNvSpPr>
          <p:nvPr/>
        </p:nvSpPr>
        <p:spPr bwMode="auto">
          <a:xfrm>
            <a:off x="3980462" y="5119688"/>
            <a:ext cx="4851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.Б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Хайдуков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pPr algn="r"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иректор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МБОУ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ОШ № 45 г. Челябинска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drawingObject1"/>
          <p:cNvPicPr/>
          <p:nvPr/>
        </p:nvPicPr>
        <p:blipFill>
          <a:blip r:embed="rId3" cstate="print"/>
          <a:stretch/>
        </p:blipFill>
        <p:spPr>
          <a:xfrm>
            <a:off x="182666" y="50848"/>
            <a:ext cx="720725" cy="926465"/>
          </a:xfrm>
          <a:prstGeom prst="rect">
            <a:avLst/>
          </a:prstGeom>
          <a:noFill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031" y="258678"/>
            <a:ext cx="636757" cy="83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6300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504695" y="461688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1354179" y="4562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4" name="drawingObject1"/>
          <p:cNvPicPr/>
          <p:nvPr/>
        </p:nvPicPr>
        <p:blipFill>
          <a:blip r:embed="rId7" cstate="print"/>
          <a:stretch/>
        </p:blipFill>
        <p:spPr>
          <a:xfrm>
            <a:off x="150560" y="-3112"/>
            <a:ext cx="720725" cy="926465"/>
          </a:xfrm>
          <a:prstGeom prst="rect">
            <a:avLst/>
          </a:prstGeom>
          <a:noFill/>
        </p:spPr>
      </p:pic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45F17DB4-8216-4D55-BCE5-114B97F2F9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34974"/>
              </p:ext>
            </p:extLst>
          </p:nvPr>
        </p:nvGraphicFramePr>
        <p:xfrm>
          <a:off x="172274" y="1103111"/>
          <a:ext cx="8799452" cy="5079989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235699">
                  <a:extLst>
                    <a:ext uri="{9D8B030D-6E8A-4147-A177-3AD203B41FA5}">
                      <a16:colId xmlns:a16="http://schemas.microsoft.com/office/drawing/2014/main" val="3179138019"/>
                    </a:ext>
                  </a:extLst>
                </a:gridCol>
                <a:gridCol w="2844109">
                  <a:extLst>
                    <a:ext uri="{9D8B030D-6E8A-4147-A177-3AD203B41FA5}">
                      <a16:colId xmlns:a16="http://schemas.microsoft.com/office/drawing/2014/main" val="1207912520"/>
                    </a:ext>
                  </a:extLst>
                </a:gridCol>
                <a:gridCol w="2053205">
                  <a:extLst>
                    <a:ext uri="{9D8B030D-6E8A-4147-A177-3AD203B41FA5}">
                      <a16:colId xmlns:a16="http://schemas.microsoft.com/office/drawing/2014/main" val="2138719073"/>
                    </a:ext>
                  </a:extLst>
                </a:gridCol>
                <a:gridCol w="940775">
                  <a:extLst>
                    <a:ext uri="{9D8B030D-6E8A-4147-A177-3AD203B41FA5}">
                      <a16:colId xmlns:a16="http://schemas.microsoft.com/office/drawing/2014/main" val="295112343"/>
                    </a:ext>
                  </a:extLst>
                </a:gridCol>
                <a:gridCol w="379143">
                  <a:extLst>
                    <a:ext uri="{9D8B030D-6E8A-4147-A177-3AD203B41FA5}">
                      <a16:colId xmlns:a16="http://schemas.microsoft.com/office/drawing/2014/main" val="2062215671"/>
                    </a:ext>
                  </a:extLst>
                </a:gridCol>
                <a:gridCol w="2346521">
                  <a:extLst>
                    <a:ext uri="{9D8B030D-6E8A-4147-A177-3AD203B41FA5}">
                      <a16:colId xmlns:a16="http://schemas.microsoft.com/office/drawing/2014/main" val="1089513664"/>
                    </a:ext>
                  </a:extLst>
                </a:gridCol>
              </a:tblGrid>
              <a:tr h="20783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   №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 dirty="0">
                          <a:effectLst/>
                        </a:rPr>
                        <a:t>Проблем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</a:rPr>
                        <a:t>Мероприятия по решению проблемы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 dirty="0">
                          <a:solidFill>
                            <a:srgbClr val="FF0000"/>
                          </a:solidFill>
                          <a:effectLst/>
                        </a:rPr>
                        <a:t>Ответственный </a:t>
                      </a:r>
                      <a:endParaRPr lang="ru-RU" sz="7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 dirty="0">
                          <a:solidFill>
                            <a:srgbClr val="FF0000"/>
                          </a:solidFill>
                          <a:effectLst/>
                        </a:rPr>
                        <a:t>срок</a:t>
                      </a:r>
                      <a:endParaRPr lang="ru-RU" sz="7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</a:rPr>
                        <a:t>Ожидаемый результат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2338147575"/>
                  </a:ext>
                </a:extLst>
              </a:tr>
              <a:tr h="365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1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1.Отсутствие в рамках проектной работы стандарт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Создание рабочей группы по разработке стандарт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директора по УР Сторожук И.В.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юнь 2024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270510" algn="l"/>
                        </a:tabLst>
                      </a:pPr>
                      <a:r>
                        <a:rPr lang="ru-RU" sz="700" dirty="0">
                          <a:effectLst/>
                        </a:rPr>
                        <a:t>Стандарт </a:t>
                      </a:r>
                      <a:r>
                        <a:rPr lang="ru-RU" sz="700" kern="1600" dirty="0">
                          <a:effectLst/>
                        </a:rPr>
                        <a:t>процесса достижения метапредметных результатов обучающихся 8-9 классов по эффективности своей деятельности в работе над проектом </a:t>
                      </a:r>
                      <a:r>
                        <a:rPr lang="ru-RU" sz="700" kern="1200" dirty="0">
                          <a:effectLst/>
                        </a:rPr>
                        <a:t> 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3441651806"/>
                  </a:ext>
                </a:extLst>
              </a:tr>
              <a:tr h="4661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2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8.Отсутствие единых подходов к контролю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Создание рабочей группы по разработке единых подходов к контролю достижения метапредметных результатов обучающихся (эффективность деятельности) в проектно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директора по УР Сторожук И.В.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юнь 2024</a:t>
                      </a:r>
                      <a:endParaRPr lang="ru-RU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Разработка единого подходов к конролю достижения метапредметных результатов обучающихся (эффективность деятельности) в проектной деятельности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2064442596"/>
                  </a:ext>
                </a:extLst>
              </a:tr>
              <a:tr h="4429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3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2.Низкий уровень владения технологией бережливого производства у педагогов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Организация методического интенсива «Инструменты бережливого производства»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директора по УР Сторожук И.В.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юнь 2024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Повышение уровня  понимания значимости влияния </a:t>
                      </a:r>
                      <a:r>
                        <a:rPr lang="ru-RU" sz="700" dirty="0" err="1">
                          <a:effectLst/>
                        </a:rPr>
                        <a:t>сформированности</a:t>
                      </a:r>
                      <a:r>
                        <a:rPr lang="ru-RU" sz="700" dirty="0">
                          <a:effectLst/>
                        </a:rPr>
                        <a:t> бережливого мышления на повышение качества обучения.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2631763808"/>
                  </a:ext>
                </a:extLst>
              </a:tr>
              <a:tr h="388424"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4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5.Отсутствие методического продукта для обмена методик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Адаптация методического инструментария  для  школы по формированию бережливой личности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Создание методического инструментария  для  школы по формированию бережливой личности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МО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юнь-сентябрь 2024</a:t>
                      </a:r>
                      <a:endParaRPr lang="ru-RU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Банк методического инструментария  для  школы по формированию бережливой личности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1791637647"/>
                  </a:ext>
                </a:extLst>
              </a:tr>
              <a:tr h="5542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6.Недостаточно в рамках организации проектной деятельности обучающихся мероприятий,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920859"/>
                  </a:ext>
                </a:extLst>
              </a:tr>
              <a:tr h="4849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7.Недостаточно в рамках организации проектной деятельности обучающихся мероприятий,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311243"/>
                  </a:ext>
                </a:extLst>
              </a:tr>
              <a:tr h="4626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5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9.Отсутствие в рамках ВСОКО мероприятий по контролю за сформированностью бережливого мышления у обучающихся   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Включение ежегодно в план ВСОКО  мероприятий по контролю за достижением метапредметных результатов обучающихся (эффективность деятельности)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и директора по УР Сторожук И.В., Дубская Н.А., учитель англ.яз. Жаркова О.В.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6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юнь 2024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Включение ежегодно в план ВСОКО  мероприятий по контролю за достижением метапредметных результатов обучающихся (эффективность деятельности) 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334498041"/>
                  </a:ext>
                </a:extLst>
              </a:tr>
              <a:tr h="277117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6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3.Отсутствие системы повышения квалификации педагогов по бережливому производству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Включение ежегодно в план  повышения квалификации курсов по формированию  бережливого мышления у обучающихся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директора по УР Дубская Н.А.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нтябрь 2024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Организация курсовой подготовки у педагогов по формированию бережливого мышления у обучающихся.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225477258"/>
                  </a:ext>
                </a:extLst>
              </a:tr>
              <a:tr h="3686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4.Отсутствие личной мотивации участников процесс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Повышение уровня владения педагогами компетенциями по формированию бережливого мышления.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1242257888"/>
                  </a:ext>
                </a:extLst>
              </a:tr>
              <a:tr h="415676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>
                          <a:effectLst/>
                        </a:rPr>
                        <a:t>7</a:t>
                      </a:r>
                      <a:endParaRPr lang="ru-RU" sz="7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dirty="0">
                          <a:effectLst/>
                        </a:rPr>
                        <a:t>Анализ и оценка достижения целевых показателей  проекта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директора по УР Сторожук И.В.</a:t>
                      </a:r>
                      <a:endParaRPr lang="ru-RU" sz="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тябрь 2024</a:t>
                      </a:r>
                      <a:endParaRPr lang="ru-RU" sz="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700" kern="1600" dirty="0">
                          <a:effectLst/>
                        </a:rPr>
                        <a:t>Доля обучающихся 8-9 классов, вовлеченных в проектную деятельность с применением бережливых технологий, составляет 30% и более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1178739369"/>
                  </a:ext>
                </a:extLst>
              </a:tr>
              <a:tr h="584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270510" algn="l"/>
                        </a:tabLst>
                      </a:pPr>
                      <a:r>
                        <a:rPr lang="ru-RU" sz="700" kern="1600" dirty="0">
                          <a:effectLst/>
                        </a:rPr>
                        <a:t>Разработан Стандарт процесса достижения метапредметных результатов обучающихся 8-9 классов по эффективности своей деятельности в работе над проектом </a:t>
                      </a:r>
                      <a:endParaRPr lang="ru-RU" sz="7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9346" marR="19346" marT="0" marB="0"/>
                </a:tc>
                <a:extLst>
                  <a:ext uri="{0D108BD9-81ED-4DB2-BD59-A6C34878D82A}">
                    <a16:rowId xmlns:a16="http://schemas.microsoft.com/office/drawing/2014/main" val="1390023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504825" y="1125538"/>
            <a:ext cx="8229600" cy="48895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8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10243" name="Содержимое 4"/>
          <p:cNvSpPr>
            <a:spLocks noGrp="1"/>
          </p:cNvSpPr>
          <p:nvPr>
            <p:ph idx="1"/>
          </p:nvPr>
        </p:nvSpPr>
        <p:spPr>
          <a:xfrm>
            <a:off x="461963" y="1484313"/>
            <a:ext cx="8229600" cy="461962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2400" b="1" dirty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9DA23EC8-251C-486B-8A52-C219A07FBE87}" type="slidenum">
              <a:rPr lang="ru-RU" altLang="ru-RU">
                <a:latin typeface="Arial" charset="0"/>
              </a:rPr>
              <a:pPr eaLnBrk="0" hangingPunct="0">
                <a:defRPr/>
              </a:pPr>
              <a:t>11</a:t>
            </a:fld>
            <a:endParaRPr lang="ru-RU" altLang="ru-RU" dirty="0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" y="2042160"/>
            <a:ext cx="3714750" cy="147732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ля обучающихся 8 - 9 классов, вовлеченных в проектную деятельность по бережливым технология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0</a:t>
            </a:r>
          </a:p>
        </p:txBody>
      </p:sp>
      <p:sp>
        <p:nvSpPr>
          <p:cNvPr id="10246" name="Прямоугольник 23"/>
          <p:cNvSpPr>
            <a:spLocks noChangeArrowheads="1"/>
          </p:cNvSpPr>
          <p:nvPr/>
        </p:nvSpPr>
        <p:spPr bwMode="auto">
          <a:xfrm>
            <a:off x="2163763" y="3644900"/>
            <a:ext cx="4572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ЭКОНОМИЯ ВРЕМЕНИ:  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2 – дня.; 55 %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56000" y="2738438"/>
            <a:ext cx="1501775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60488" y="3517900"/>
            <a:ext cx="6429375" cy="1588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9" name="Прямоугольник 14"/>
          <p:cNvSpPr>
            <a:spLocks noChangeArrowheads="1"/>
          </p:cNvSpPr>
          <p:nvPr/>
        </p:nvSpPr>
        <p:spPr bwMode="auto">
          <a:xfrm>
            <a:off x="200943" y="4448751"/>
            <a:ext cx="8748464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СНИЖЕНИЕ ВРЕМЕННЫХ ПОТЕРЬ  ЗА СЧЕТ </a:t>
            </a:r>
          </a:p>
          <a:p>
            <a:pPr algn="ctr"/>
            <a:endParaRPr lang="ru-RU" sz="1600" b="1" dirty="0">
              <a:solidFill>
                <a:srgbClr val="0070C0"/>
              </a:solidFill>
              <a:latin typeface="Arial" charset="0"/>
            </a:endParaRP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«Стандарта процесса достижения метапредметных результатов обучающихся 8-9 классов по эффективности своей деятельности в работе над проектом»</a:t>
            </a:r>
          </a:p>
          <a:p>
            <a:pPr algn="ctr"/>
            <a:endParaRPr lang="ru-RU" alt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550" y="350838"/>
            <a:ext cx="695801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25" y="6305550"/>
            <a:ext cx="6958013" cy="28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3" name="Прямоугольник 14"/>
          <p:cNvSpPr>
            <a:spLocks noChangeArrowheads="1"/>
          </p:cNvSpPr>
          <p:nvPr/>
        </p:nvSpPr>
        <p:spPr bwMode="auto">
          <a:xfrm>
            <a:off x="150813" y="496888"/>
            <a:ext cx="90376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Муниципальное бюджетное общеобразовательное учреждение</a:t>
            </a:r>
          </a:p>
          <a:p>
            <a:pPr algn="ctr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ОШ № 45 г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Челябинска</a:t>
            </a:r>
            <a:r>
              <a:rPr lang="ru-RU" sz="1600" dirty="0"/>
              <a:t>»</a:t>
            </a:r>
          </a:p>
        </p:txBody>
      </p:sp>
      <p:pic>
        <p:nvPicPr>
          <p:cNvPr id="10254" name="Picture 3" descr="C:\Users\Администратор\Desktop\Coat_of_arms_of_Chelyabinsk_Oblast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" y="33338"/>
            <a:ext cx="72072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5" name="Заголовок 1"/>
          <p:cNvSpPr txBox="1">
            <a:spLocks/>
          </p:cNvSpPr>
          <p:nvPr/>
        </p:nvSpPr>
        <p:spPr bwMode="auto">
          <a:xfrm>
            <a:off x="3121025" y="33338"/>
            <a:ext cx="331311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Челябинская область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81004" y="2013585"/>
            <a:ext cx="3714750" cy="147732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ля обучающихся 8 - 9 классов, вовлеченных в проектную деятельность по бережливым технология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0%</a:t>
            </a:r>
            <a:endParaRPr lang="ru-RU" b="1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070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630"/>
    </mc:Choice>
    <mc:Fallback xmlns="">
      <p:transition spd="slow" advClick="0" advTm="563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817" y="22622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457750"/>
            <a:ext cx="8640960" cy="59300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76885"/>
            <a:ext cx="592324" cy="761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57266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3708905" y="-48266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03666" y="4673892"/>
            <a:ext cx="8488814" cy="11474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endParaRPr lang="ru-RU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Включены в план ВСОКО мероприятия по контролю за достижением метапредметных результатов обучающихся, способствующих повышению эффективности своей деятельности.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03666" y="5989166"/>
            <a:ext cx="8488814" cy="55481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5.Разработан  Стандарт.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403666" y="3709795"/>
            <a:ext cx="8546310" cy="79985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Создан Банк методического инструментария для школы по формированию бережливой личности.</a:t>
            </a:r>
          </a:p>
          <a:p>
            <a:pPr algn="ctr"/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186389" y="2530270"/>
            <a:ext cx="4763587" cy="90167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Повышен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владения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ами компетенциями по формированию бережливого мышления. 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186389" y="1173210"/>
            <a:ext cx="4763587" cy="101639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Повышен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понимания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чимости влияния сформированности бережливого мышления на повышение качества обучения.</a:t>
            </a:r>
            <a:endParaRPr lang="ru-RU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91855" y="1176371"/>
            <a:ext cx="3493609" cy="1078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Проведен методический интенсив «Инструменты бережливого производства».</a:t>
            </a:r>
          </a:p>
          <a:p>
            <a:pPr algn="ctr"/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391855" y="2416434"/>
            <a:ext cx="3493609" cy="10676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Организовано повышение  квалификации педагогов по формированию бережливого мышления у обучающихся.</a:t>
            </a:r>
          </a:p>
          <a:p>
            <a:pPr algn="ctr"/>
            <a:endParaRPr lang="ru-RU" dirty="0"/>
          </a:p>
        </p:txBody>
      </p:sp>
      <p:sp>
        <p:nvSpPr>
          <p:cNvPr id="34" name="Стрелка вправо 33"/>
          <p:cNvSpPr/>
          <p:nvPr/>
        </p:nvSpPr>
        <p:spPr>
          <a:xfrm>
            <a:off x="3920423" y="1510716"/>
            <a:ext cx="216024" cy="216024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>
            <a:off x="3920423" y="2683180"/>
            <a:ext cx="216024" cy="216024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6365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3131840" y="64970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233" y="37753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285851" y="779957"/>
            <a:ext cx="6786610" cy="3749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000" b="1" u="sng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и и диагностика оценивания</a:t>
            </a:r>
            <a:r>
              <a:rPr lang="ru-RU" sz="18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тапредметных результатов (эффективность деятельности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/>
          <a:srcRect l="18314" t="17666" r="50919" b="9406"/>
          <a:stretch/>
        </p:blipFill>
        <p:spPr>
          <a:xfrm>
            <a:off x="251520" y="1699979"/>
            <a:ext cx="2706502" cy="382938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7024AB6-65F0-4039-AA70-A305D710C50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752" t="20232" r="9060" b="29000"/>
          <a:stretch/>
        </p:blipFill>
        <p:spPr>
          <a:xfrm>
            <a:off x="3233648" y="1700808"/>
            <a:ext cx="2706503" cy="382855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702433" y="4534955"/>
            <a:ext cx="2498880" cy="18741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71808" y="1812299"/>
            <a:ext cx="2498880" cy="1874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959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Выгнутая вправо стрелка 30"/>
          <p:cNvSpPr/>
          <p:nvPr/>
        </p:nvSpPr>
        <p:spPr>
          <a:xfrm>
            <a:off x="8100823" y="2479084"/>
            <a:ext cx="935673" cy="4270751"/>
          </a:xfrm>
          <a:prstGeom prst="curvedLef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3" name="Выгнутая влево стрелка 32"/>
          <p:cNvSpPr/>
          <p:nvPr/>
        </p:nvSpPr>
        <p:spPr>
          <a:xfrm>
            <a:off x="107504" y="2479083"/>
            <a:ext cx="864096" cy="4190277"/>
          </a:xfrm>
          <a:prstGeom prst="curved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0310" y="713693"/>
            <a:ext cx="8229600" cy="5483245"/>
          </a:xfrm>
        </p:spPr>
        <p:txBody>
          <a:bodyPr/>
          <a:lstStyle/>
          <a:p>
            <a:pPr>
              <a:buNone/>
            </a:pPr>
            <a:r>
              <a:rPr lang="ru-RU" sz="1600" b="1" dirty="0"/>
              <a:t>	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74870" y="2194925"/>
            <a:ext cx="8358143" cy="4124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ИТЕРИИ по оцениванию личных качеств выпускника для эффективности своей деятельност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03666" y="3239981"/>
            <a:ext cx="8344798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РШРУТНЫЙ ЛИСТ деятельности администрации «Оптимизация процесса вовлечения в проектную деятельность обучающихся 8 – 9 классов  для </a:t>
            </a:r>
            <a:r>
              <a:rPr lang="ru-RU" sz="14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пускника, способствующих эффективности своей деятельност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52454" y="5063071"/>
            <a:ext cx="8318902" cy="5760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 методического инструментария для лицея по формированию бережливой личности: список рекомендуемой литературы для самообразования педагогов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42726" y="5734875"/>
            <a:ext cx="8318902" cy="4596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нк апробированных эффективных методик по вопросам формирования бережливого мышления педагогов и обучающихся .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76885"/>
            <a:ext cx="592324" cy="761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976" y="21429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2928926" y="0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3027474" y="6147395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%</a:t>
            </a:r>
            <a:endParaRPr lang="ru-RU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385714" y="6442059"/>
            <a:ext cx="4572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овлечение выпускников в проектную деятельность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5665" y="592367"/>
            <a:ext cx="835814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СОШ № 45 г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. Челябинска»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endParaRPr lang="ru-RU" b="1" u="sng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b="1" u="sng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15665" y="4027643"/>
            <a:ext cx="8338889" cy="39167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ТРАДЬ по организации проектной деятельности «Я формирую бережливое мышление»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199244" y="1674646"/>
            <a:ext cx="27093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b="1" u="sng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проекте разработаны: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25027" y="4525577"/>
            <a:ext cx="8323435" cy="4417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ЛГОРИТМ по организации проектной деятельности обучающихся 8-9 классов «Формируем бережливое мышление вместе» 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74871" y="2684632"/>
            <a:ext cx="8358143" cy="4374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процесса достижения метапредметных результатов обучающихся 8-9 классов по эффективности своей деятельности в работе над проектом 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5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3707904" y="115216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607" t="22923" r="25191" b="14627"/>
          <a:stretch/>
        </p:blipFill>
        <p:spPr bwMode="auto">
          <a:xfrm>
            <a:off x="5219213" y="3951160"/>
            <a:ext cx="2664296" cy="24514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051720" y="3323836"/>
            <a:ext cx="14271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АЧАЛЕ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012160" y="3271941"/>
            <a:ext cx="17338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ОНЧАНИЕ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621" t="20906" r="25895" b="7504"/>
          <a:stretch/>
        </p:blipFill>
        <p:spPr bwMode="auto">
          <a:xfrm>
            <a:off x="1222350" y="3951160"/>
            <a:ext cx="2829720" cy="24514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412570" y="1129847"/>
            <a:ext cx="2495732" cy="187179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40070" y="1155241"/>
            <a:ext cx="2394278" cy="1795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9270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Скругленный прямоугольник 43"/>
          <p:cNvSpPr/>
          <p:nvPr/>
        </p:nvSpPr>
        <p:spPr>
          <a:xfrm>
            <a:off x="6166205" y="4535282"/>
            <a:ext cx="2782387" cy="396646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щита проекта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28184" y="5132999"/>
            <a:ext cx="2728464" cy="771467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деятельности обучающихся по использованию инструментов бережливого производства  </a:t>
            </a:r>
            <a:endParaRPr lang="ru-RU" sz="12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060125" y="5389533"/>
            <a:ext cx="3508014" cy="43512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комство с закрепленными наставляемыми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5" name="Picture 2" descr="https://flomaster.club/uploads/posts/2022-12/1672293046_flomaster-club-p-chelovechek-risunok-dlya-detei-pinterest-8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593" t="66596" r="1550" b="6403"/>
          <a:stretch/>
        </p:blipFill>
        <p:spPr bwMode="auto">
          <a:xfrm>
            <a:off x="1068096" y="760571"/>
            <a:ext cx="942942" cy="969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s://flomaster.club/uploads/posts/2022-12/1672293046_flomaster-club-p-chelovechek-risunok-dlya-detei-pinterest-8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38" t="4684" r="44073" b="64093"/>
          <a:stretch/>
        </p:blipFill>
        <p:spPr bwMode="auto">
          <a:xfrm>
            <a:off x="4737850" y="1898140"/>
            <a:ext cx="538785" cy="1077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с одним скругленным углом 8"/>
          <p:cNvSpPr/>
          <p:nvPr/>
        </p:nvSpPr>
        <p:spPr>
          <a:xfrm>
            <a:off x="750510" y="1852499"/>
            <a:ext cx="1728192" cy="192874"/>
          </a:xfrm>
          <a:prstGeom prst="round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ЕЦ</a:t>
            </a:r>
          </a:p>
        </p:txBody>
      </p:sp>
      <p:sp>
        <p:nvSpPr>
          <p:cNvPr id="10" name="Прямоугольник с одним скругленным углом 9"/>
          <p:cNvSpPr/>
          <p:nvPr/>
        </p:nvSpPr>
        <p:spPr>
          <a:xfrm>
            <a:off x="3781001" y="3003384"/>
            <a:ext cx="1728192" cy="192874"/>
          </a:xfrm>
          <a:prstGeom prst="round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</a:t>
            </a:r>
          </a:p>
        </p:txBody>
      </p:sp>
      <p:sp>
        <p:nvSpPr>
          <p:cNvPr id="11" name="Прямоугольник с одним скругленным углом 10"/>
          <p:cNvSpPr/>
          <p:nvPr/>
        </p:nvSpPr>
        <p:spPr>
          <a:xfrm>
            <a:off x="6701687" y="4111552"/>
            <a:ext cx="1728192" cy="192874"/>
          </a:xfrm>
          <a:prstGeom prst="round1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ЙСЯ</a:t>
            </a:r>
          </a:p>
        </p:txBody>
      </p:sp>
      <p:pic>
        <p:nvPicPr>
          <p:cNvPr id="12" name="Picture 4" descr="https://flomaster.club/uploads/posts/2022-12/1672293046_flomaster-club-p-chelovechek-risunok-dlya-detei-pinterest-8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55" t="68184" r="22527" b="6697"/>
          <a:stretch/>
        </p:blipFill>
        <p:spPr bwMode="auto">
          <a:xfrm>
            <a:off x="6543594" y="3048858"/>
            <a:ext cx="627470" cy="99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кругленный прямоугольник 12"/>
          <p:cNvSpPr/>
          <p:nvPr/>
        </p:nvSpPr>
        <p:spPr>
          <a:xfrm>
            <a:off x="314639" y="2207245"/>
            <a:ext cx="2817201" cy="72013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ирование процесса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(эффективность деятельности)  </a:t>
            </a:r>
            <a:r>
              <a:rPr lang="ru-RU" sz="12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аршрутный лист администрации)  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3131840" y="64970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794" y="35512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Овал 16"/>
          <p:cNvSpPr/>
          <p:nvPr/>
        </p:nvSpPr>
        <p:spPr>
          <a:xfrm>
            <a:off x="11431" y="1872119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12612" y="3035390"/>
            <a:ext cx="2861448" cy="127767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системы  обмена методиками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хся, способствующих повышению эффективности своей деятельности </a:t>
            </a:r>
            <a:r>
              <a:rPr lang="ru-RU" sz="12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банк методического инструментария)</a:t>
            </a:r>
          </a:p>
        </p:txBody>
      </p:sp>
      <p:sp>
        <p:nvSpPr>
          <p:cNvPr id="19" name="Овал 18"/>
          <p:cNvSpPr/>
          <p:nvPr/>
        </p:nvSpPr>
        <p:spPr>
          <a:xfrm>
            <a:off x="96677" y="3216549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20" name="Стрелка вниз 19"/>
          <p:cNvSpPr/>
          <p:nvPr/>
        </p:nvSpPr>
        <p:spPr>
          <a:xfrm>
            <a:off x="2722196" y="2799271"/>
            <a:ext cx="576203" cy="289511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2128592" y="485994"/>
            <a:ext cx="617925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</a:t>
            </a:r>
            <a:r>
              <a:rPr lang="ru-RU" sz="1800" b="1" dirty="0">
                <a:solidFill>
                  <a:srgbClr val="C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обучающихся 8-9 классов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 эффективности своей  деятельности в работе над проектом 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2444" y="3358615"/>
            <a:ext cx="2441043" cy="74948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комство с критериями оценки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метапредметных результатов (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сть деятельности) </a:t>
            </a:r>
          </a:p>
        </p:txBody>
      </p:sp>
      <p:sp>
        <p:nvSpPr>
          <p:cNvPr id="23" name="Овал 22"/>
          <p:cNvSpPr/>
          <p:nvPr/>
        </p:nvSpPr>
        <p:spPr>
          <a:xfrm>
            <a:off x="3298399" y="3216549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37593" y="4477785"/>
            <a:ext cx="3535750" cy="38166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учение инструментов бережливого производства </a:t>
            </a:r>
          </a:p>
        </p:txBody>
      </p:sp>
      <p:sp>
        <p:nvSpPr>
          <p:cNvPr id="25" name="Овал 24"/>
          <p:cNvSpPr/>
          <p:nvPr/>
        </p:nvSpPr>
        <p:spPr>
          <a:xfrm>
            <a:off x="1750735" y="4411858"/>
            <a:ext cx="391959" cy="36919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26" name="Стрелка вниз 25"/>
          <p:cNvSpPr/>
          <p:nvPr/>
        </p:nvSpPr>
        <p:spPr>
          <a:xfrm rot="16200000">
            <a:off x="3159558" y="3756313"/>
            <a:ext cx="576203" cy="509574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низ 26"/>
          <p:cNvSpPr/>
          <p:nvPr/>
        </p:nvSpPr>
        <p:spPr>
          <a:xfrm>
            <a:off x="4955238" y="4135777"/>
            <a:ext cx="577213" cy="335049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037593" y="4961786"/>
            <a:ext cx="3535750" cy="35086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шаблонов для обучающихся</a:t>
            </a:r>
          </a:p>
        </p:txBody>
      </p:sp>
      <p:sp>
        <p:nvSpPr>
          <p:cNvPr id="29" name="Овал 28"/>
          <p:cNvSpPr/>
          <p:nvPr/>
        </p:nvSpPr>
        <p:spPr>
          <a:xfrm>
            <a:off x="1750736" y="4925378"/>
            <a:ext cx="376378" cy="343537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</p:txBody>
      </p:sp>
      <p:sp>
        <p:nvSpPr>
          <p:cNvPr id="33" name="Овал 32"/>
          <p:cNvSpPr/>
          <p:nvPr/>
        </p:nvSpPr>
        <p:spPr>
          <a:xfrm>
            <a:off x="1719072" y="5413248"/>
            <a:ext cx="406067" cy="34425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120338" y="6093296"/>
            <a:ext cx="2836310" cy="699734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межуточная оценка и самооценка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метапредметных результатов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хся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(эффективность деятельности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Стрелка вниз 34"/>
          <p:cNvSpPr/>
          <p:nvPr/>
        </p:nvSpPr>
        <p:spPr>
          <a:xfrm rot="16200000">
            <a:off x="5705253" y="6239967"/>
            <a:ext cx="344738" cy="618278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/>
          <p:cNvSpPr/>
          <p:nvPr/>
        </p:nvSpPr>
        <p:spPr>
          <a:xfrm>
            <a:off x="5893020" y="5733011"/>
            <a:ext cx="515733" cy="48870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  <p:sp>
        <p:nvSpPr>
          <p:cNvPr id="38" name="Овал 37"/>
          <p:cNvSpPr/>
          <p:nvPr/>
        </p:nvSpPr>
        <p:spPr>
          <a:xfrm>
            <a:off x="5868145" y="5023988"/>
            <a:ext cx="576064" cy="488926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</a:p>
        </p:txBody>
      </p:sp>
      <p:sp>
        <p:nvSpPr>
          <p:cNvPr id="40" name="Стрелка вниз 39"/>
          <p:cNvSpPr/>
          <p:nvPr/>
        </p:nvSpPr>
        <p:spPr>
          <a:xfrm rot="10800000">
            <a:off x="8429879" y="5720392"/>
            <a:ext cx="513841" cy="358960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Picture 6" descr="http://qrcoder.ru/code/?https%3A%2F%2Fcloud.mail.ru%2Fpublic%2FT3t3%2FeHQhT16wi&amp;4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488" y="3141555"/>
            <a:ext cx="334233" cy="334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Стрелка вниз 44"/>
          <p:cNvSpPr/>
          <p:nvPr/>
        </p:nvSpPr>
        <p:spPr>
          <a:xfrm rot="10800000">
            <a:off x="8423116" y="4761796"/>
            <a:ext cx="513841" cy="358960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849175" y="1534116"/>
            <a:ext cx="3107473" cy="1193879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,  оценка, самооценка </a:t>
            </a:r>
            <a:r>
              <a:rPr lang="ru-RU" sz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остижения метапредметных результатов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, способствующих повышению эффективности своей деятельности в рамках работы над проектом</a:t>
            </a:r>
          </a:p>
        </p:txBody>
      </p:sp>
      <p:sp>
        <p:nvSpPr>
          <p:cNvPr id="47" name="Овал 46"/>
          <p:cNvSpPr/>
          <p:nvPr/>
        </p:nvSpPr>
        <p:spPr>
          <a:xfrm>
            <a:off x="5265090" y="1604355"/>
            <a:ext cx="755613" cy="584045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48" name="Стрелка вниз 47"/>
          <p:cNvSpPr/>
          <p:nvPr/>
        </p:nvSpPr>
        <p:spPr>
          <a:xfrm rot="10800000">
            <a:off x="8423115" y="2740236"/>
            <a:ext cx="513842" cy="1781099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2065329" y="6371063"/>
            <a:ext cx="3508014" cy="38541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полнение сводной формы по ведению проектной деятельности наставляемых </a:t>
            </a: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065329" y="5917864"/>
            <a:ext cx="3535750" cy="350864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взаимодействия в наставнической паре</a:t>
            </a:r>
          </a:p>
        </p:txBody>
      </p:sp>
      <p:sp>
        <p:nvSpPr>
          <p:cNvPr id="51" name="Овал 50"/>
          <p:cNvSpPr/>
          <p:nvPr/>
        </p:nvSpPr>
        <p:spPr>
          <a:xfrm>
            <a:off x="1731516" y="5861920"/>
            <a:ext cx="391959" cy="36919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</a:p>
        </p:txBody>
      </p:sp>
      <p:sp>
        <p:nvSpPr>
          <p:cNvPr id="52" name="Овал 51"/>
          <p:cNvSpPr/>
          <p:nvPr/>
        </p:nvSpPr>
        <p:spPr>
          <a:xfrm>
            <a:off x="1715329" y="6362713"/>
            <a:ext cx="391959" cy="369191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  <p:sp>
        <p:nvSpPr>
          <p:cNvPr id="53" name="Овал 52"/>
          <p:cNvSpPr/>
          <p:nvPr/>
        </p:nvSpPr>
        <p:spPr>
          <a:xfrm>
            <a:off x="5864047" y="4351990"/>
            <a:ext cx="576064" cy="488926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</a:p>
        </p:txBody>
      </p:sp>
      <p:sp>
        <p:nvSpPr>
          <p:cNvPr id="54" name="Стрелка вниз 53"/>
          <p:cNvSpPr/>
          <p:nvPr/>
        </p:nvSpPr>
        <p:spPr>
          <a:xfrm>
            <a:off x="5218221" y="4799397"/>
            <a:ext cx="382858" cy="300467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низ 54"/>
          <p:cNvSpPr/>
          <p:nvPr/>
        </p:nvSpPr>
        <p:spPr>
          <a:xfrm>
            <a:off x="5243844" y="5254272"/>
            <a:ext cx="406575" cy="217958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трелка вниз 55"/>
          <p:cNvSpPr/>
          <p:nvPr/>
        </p:nvSpPr>
        <p:spPr>
          <a:xfrm>
            <a:off x="5260038" y="5721524"/>
            <a:ext cx="394844" cy="255839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Стрелка вниз 56"/>
          <p:cNvSpPr/>
          <p:nvPr/>
        </p:nvSpPr>
        <p:spPr>
          <a:xfrm>
            <a:off x="5278276" y="6177083"/>
            <a:ext cx="379005" cy="230123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4007" t="17800" r="51306" b="20026"/>
          <a:stretch/>
        </p:blipFill>
        <p:spPr>
          <a:xfrm>
            <a:off x="7500843" y="2814200"/>
            <a:ext cx="852564" cy="120779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8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l="14035" t="15999" r="51248" b="9151"/>
          <a:stretch/>
        </p:blipFill>
        <p:spPr>
          <a:xfrm>
            <a:off x="3596547" y="1506152"/>
            <a:ext cx="921465" cy="133396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85639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146716" y="5445223"/>
            <a:ext cx="5440722" cy="108020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46716" y="3717032"/>
            <a:ext cx="5448918" cy="15502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50561" y="2986764"/>
            <a:ext cx="5436877" cy="6582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50561" y="1556793"/>
            <a:ext cx="5436877" cy="12961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21" name="drawingObject1"/>
          <p:cNvPicPr/>
          <p:nvPr/>
        </p:nvPicPr>
        <p:blipFill>
          <a:blip r:embed="rId2" cstate="print"/>
          <a:stretch/>
        </p:blipFill>
        <p:spPr>
          <a:xfrm>
            <a:off x="150560" y="-3112"/>
            <a:ext cx="720725" cy="926465"/>
          </a:xfrm>
          <a:prstGeom prst="rect">
            <a:avLst/>
          </a:prstGeom>
          <a:noFill/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2018" y="4601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403509" y="100080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0561" y="1556793"/>
            <a:ext cx="534152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1.Обучение команды администрации (повышение квалификации) по дополнительной профессиональной программе «Реализация бережливых технологий в системе образования»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2.Проведение интенсивных занятий  для педагогов  лицея «Инструменты бережливого производства»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3.Заключение сетевого договора о сотрудничестве с Челябинским филиалом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АНХиГС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по обучению основам бережливого производства на фабрике производственных процессов педагогов – наставников и обучающихся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>
                <a:latin typeface="Times New Roman" pitchFamily="18" charset="0"/>
                <a:cs typeface="Times New Roman" pitchFamily="18" charset="0"/>
              </a:rPr>
              <a:t>3.Включение в план ВСОКО мероприятий по контролю за достижением метапредметных результатов обучающихся, способствующих повышению эффективности своей деятельности.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53549" y="460120"/>
            <a:ext cx="8100453" cy="1210146"/>
          </a:xfrm>
        </p:spPr>
        <p:txBody>
          <a:bodyPr>
            <a:noAutofit/>
          </a:bodyPr>
          <a:lstStyle/>
          <a:p>
            <a:r>
              <a:rPr lang="ru-RU" sz="18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8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шрутный лист администрации </a:t>
            </a:r>
            <a:r>
              <a:rPr lang="ru-RU" sz="1400" b="1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</a:t>
            </a:r>
            <a:r>
              <a:rPr lang="ru-RU" sz="1400" b="1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/>
            </a:r>
            <a:br>
              <a:rPr lang="ru-RU" sz="1400" b="1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ru-RU" sz="1400" b="1" dirty="0" smtClean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в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СОШ № 45 г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. Челябинска»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anose="02020603050405020304" pitchFamily="18" charset="0"/>
              </a:rPr>
            </a:b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4791" y="1865362"/>
            <a:ext cx="3291858" cy="185167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4791" y="3862251"/>
            <a:ext cx="3291858" cy="2468894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8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6754" t="4792" r="13559" b="12991"/>
          <a:stretch/>
        </p:blipFill>
        <p:spPr>
          <a:xfrm>
            <a:off x="483844" y="1016652"/>
            <a:ext cx="8064896" cy="468052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76270" y="5729180"/>
            <a:ext cx="7610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hlinkClick r:id="rId5"/>
              </a:rPr>
              <a:t>https://</a:t>
            </a:r>
            <a:r>
              <a:rPr lang="ru-RU" dirty="0" smtClean="0">
                <a:hlinkClick r:id="rId5"/>
              </a:rPr>
              <a:t>mou45.ru/deyatel/berezhlivye-tekhnologii.php</a:t>
            </a: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9300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9</a:t>
            </a:fld>
            <a:endParaRPr lang="ru-RU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Муниципальное бюджетное общеобразовательное учреждение</a:t>
            </a:r>
          </a:p>
          <a:p>
            <a:pPr algn="ctr"/>
            <a:r>
              <a:rPr lang="ru-RU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ОШ № 45 г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Челябинска»</a:t>
            </a: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323529" y="2381790"/>
            <a:ext cx="8452171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в 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МБОУ «СОШ № 45 г. Челябинска»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2"/>
          <p:cNvSpPr txBox="1">
            <a:spLocks noChangeArrowheads="1"/>
          </p:cNvSpPr>
          <p:nvPr/>
        </p:nvSpPr>
        <p:spPr bwMode="auto">
          <a:xfrm>
            <a:off x="3980462" y="5119688"/>
            <a:ext cx="4851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.Б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Хайдуков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pPr algn="r"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иректор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МБОУ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СОШ № 45 г. Челябинска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drawingObject1"/>
          <p:cNvPicPr/>
          <p:nvPr/>
        </p:nvPicPr>
        <p:blipFill>
          <a:blip r:embed="rId3" cstate="print"/>
          <a:stretch/>
        </p:blipFill>
        <p:spPr>
          <a:xfrm>
            <a:off x="182666" y="50848"/>
            <a:ext cx="720725" cy="926465"/>
          </a:xfrm>
          <a:prstGeom prst="rect">
            <a:avLst/>
          </a:prstGeom>
          <a:noFill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031" y="258678"/>
            <a:ext cx="636757" cy="83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075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643613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drawingObject1"/>
          <p:cNvPicPr/>
          <p:nvPr/>
        </p:nvPicPr>
        <p:blipFill>
          <a:blip r:embed="rId3" cstate="print"/>
          <a:stretch/>
        </p:blipFill>
        <p:spPr>
          <a:xfrm>
            <a:off x="134451" y="76416"/>
            <a:ext cx="720725" cy="926465"/>
          </a:xfrm>
          <a:prstGeom prst="rect">
            <a:avLst/>
          </a:prstGeom>
          <a:noFill/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23161" t="21950" r="22344" b="10233"/>
          <a:stretch/>
        </p:blipFill>
        <p:spPr>
          <a:xfrm>
            <a:off x="855176" y="847251"/>
            <a:ext cx="8130944" cy="569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7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04035" y="1675355"/>
            <a:ext cx="8679939" cy="4608512"/>
          </a:xfrm>
        </p:spPr>
        <p:txBody>
          <a:bodyPr>
            <a:normAutofit fontScale="62500" lnSpcReduction="20000"/>
          </a:bodyPr>
          <a:lstStyle/>
          <a:p>
            <a:pPr marL="0" indent="0" algn="just">
              <a:buNone/>
            </a:pPr>
            <a:r>
              <a:rPr lang="ru-RU" sz="2800" dirty="0">
                <a:latin typeface="Times New Roman" panose="02020603050405020304" pitchFamily="18" charset="0"/>
                <a:cs typeface="Times New Roman" pitchFamily="18" charset="0"/>
              </a:rPr>
              <a:t>Руководитель проекта 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2800" dirty="0" err="1" smtClean="0">
                <a:latin typeface="Times New Roman" pitchFamily="18" charset="0"/>
                <a:cs typeface="Times New Roman" pitchFamily="18" charset="0"/>
              </a:rPr>
              <a:t>Сторожук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И.В., заместитель директора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buNone/>
            </a:pP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Команда проекта:</a:t>
            </a:r>
          </a:p>
          <a:p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убская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талья Александровна, заместитель директора по УР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бедева Светлана Сергеевна, заместитель директора по ВР</a:t>
            </a:r>
          </a:p>
          <a:p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Жарков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ксана Валерьевна, руководитель МО, учитель английского языка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ерапонтова Наталья Александровна, педагог-психолог</a:t>
            </a:r>
          </a:p>
          <a:p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сватов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рина Витальевна, руководитель МО, учитель физики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укова Ирина Петровна, руководитель МО, учитель информатики</a:t>
            </a:r>
          </a:p>
          <a:p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павых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Екатерина Вячеславовна, руководитель МО, учитель истории и обществознания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мойлова Елена Николаевна, руководитель МО, учитель русского языка и литературы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рвякова Светлана Валентиновна, руководитель МО, учитель физической культуры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;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5" name="drawingObject1"/>
          <p:cNvPicPr/>
          <p:nvPr/>
        </p:nvPicPr>
        <p:blipFill>
          <a:blip r:embed="rId3"/>
          <a:stretch/>
        </p:blipFill>
        <p:spPr>
          <a:xfrm>
            <a:off x="230182" y="49107"/>
            <a:ext cx="720725" cy="926465"/>
          </a:xfrm>
          <a:prstGeom prst="rect">
            <a:avLst/>
          </a:prstGeom>
          <a:noFill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301" y="669774"/>
            <a:ext cx="1096058" cy="142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791" y="64488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1" name="drawingObject1"/>
          <p:cNvPicPr/>
          <p:nvPr/>
        </p:nvPicPr>
        <p:blipFill>
          <a:blip r:embed="rId3"/>
          <a:stretch/>
        </p:blipFill>
        <p:spPr>
          <a:xfrm>
            <a:off x="179512" y="63872"/>
            <a:ext cx="720725" cy="926465"/>
          </a:xfrm>
          <a:prstGeom prst="rect">
            <a:avLst/>
          </a:prstGeom>
          <a:noFill/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40456" t="8188" r="26183" b="29129"/>
          <a:stretch/>
        </p:blipFill>
        <p:spPr>
          <a:xfrm>
            <a:off x="2006965" y="647134"/>
            <a:ext cx="5423498" cy="573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52044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1" name="drawingObject1"/>
          <p:cNvPicPr/>
          <p:nvPr/>
        </p:nvPicPr>
        <p:blipFill>
          <a:blip r:embed="rId3"/>
          <a:stretch/>
        </p:blipFill>
        <p:spPr>
          <a:xfrm>
            <a:off x="140414" y="76416"/>
            <a:ext cx="720725" cy="926465"/>
          </a:xfrm>
          <a:prstGeom prst="rect">
            <a:avLst/>
          </a:prstGeom>
          <a:noFill/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26" y="804496"/>
            <a:ext cx="7868748" cy="524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52572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29" y="26716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354177" y="-411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599534"/>
            <a:ext cx="83632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ДОСТИЖЕНИЯ МЕТАПРЕДМЕТНЫХ РЕЗУЛЬТАТОВ ОБУЧАЮЩИХСЯ 8-9 КЛАССОВ, СПОСОБСТВУЮЩИХ ПОВЫШЕНИЮ ЭФФЕКТИВНОСТИ  СВОЕЙ ДЕЯТЕЛЬНОСТИ В РАМКАХ РЕАЛИЗАЦИИ РАБОТЫ НАД ПРОЕКТОМ</a:t>
            </a:r>
            <a:endParaRPr lang="ru-RU" sz="1200" dirty="0"/>
          </a:p>
        </p:txBody>
      </p:sp>
      <p:pic>
        <p:nvPicPr>
          <p:cNvPr id="10" name="drawingObject1"/>
          <p:cNvPicPr/>
          <p:nvPr/>
        </p:nvPicPr>
        <p:blipFill>
          <a:blip r:embed="rId3" cstate="print"/>
          <a:stretch/>
        </p:blipFill>
        <p:spPr>
          <a:xfrm>
            <a:off x="251521" y="56999"/>
            <a:ext cx="540058" cy="605260"/>
          </a:xfrm>
          <a:prstGeom prst="rect">
            <a:avLst/>
          </a:prstGeom>
          <a:noFill/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D50335F-99BB-4512-9D50-EF2B3F1E5D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8" t="28589" r="61908" b="14999"/>
          <a:stretch/>
        </p:blipFill>
        <p:spPr>
          <a:xfrm>
            <a:off x="996457" y="1568499"/>
            <a:ext cx="7164797" cy="441818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8432218-27FC-4F93-A404-518A394B6005}"/>
              </a:ext>
            </a:extLst>
          </p:cNvPr>
          <p:cNvSpPr/>
          <p:nvPr/>
        </p:nvSpPr>
        <p:spPr>
          <a:xfrm>
            <a:off x="996457" y="1568499"/>
            <a:ext cx="742617" cy="13230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17" y="21696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123728" y="290767"/>
            <a:ext cx="47988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1259743" y="-411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drawingObject1"/>
          <p:cNvPicPr/>
          <p:nvPr/>
        </p:nvPicPr>
        <p:blipFill>
          <a:blip r:embed="rId4" cstate="print"/>
          <a:stretch/>
        </p:blipFill>
        <p:spPr>
          <a:xfrm>
            <a:off x="283434" y="59151"/>
            <a:ext cx="504378" cy="463232"/>
          </a:xfrm>
          <a:prstGeom prst="rect">
            <a:avLst/>
          </a:prstGeom>
          <a:noFill/>
        </p:spPr>
      </p:pic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44A69695-AC59-48C7-AE16-BB2AFCBE2D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201"/>
              </p:ext>
            </p:extLst>
          </p:nvPr>
        </p:nvGraphicFramePr>
        <p:xfrm>
          <a:off x="254641" y="855934"/>
          <a:ext cx="8537038" cy="5915515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412780">
                  <a:extLst>
                    <a:ext uri="{9D8B030D-6E8A-4147-A177-3AD203B41FA5}">
                      <a16:colId xmlns:a16="http://schemas.microsoft.com/office/drawing/2014/main" val="3815468008"/>
                    </a:ext>
                  </a:extLst>
                </a:gridCol>
                <a:gridCol w="3625699">
                  <a:extLst>
                    <a:ext uri="{9D8B030D-6E8A-4147-A177-3AD203B41FA5}">
                      <a16:colId xmlns:a16="http://schemas.microsoft.com/office/drawing/2014/main" val="2630204154"/>
                    </a:ext>
                  </a:extLst>
                </a:gridCol>
                <a:gridCol w="2364300">
                  <a:extLst>
                    <a:ext uri="{9D8B030D-6E8A-4147-A177-3AD203B41FA5}">
                      <a16:colId xmlns:a16="http://schemas.microsoft.com/office/drawing/2014/main" val="586114254"/>
                    </a:ext>
                  </a:extLst>
                </a:gridCol>
                <a:gridCol w="2134259">
                  <a:extLst>
                    <a:ext uri="{9D8B030D-6E8A-4147-A177-3AD203B41FA5}">
                      <a16:colId xmlns:a16="http://schemas.microsoft.com/office/drawing/2014/main" val="1390067649"/>
                    </a:ext>
                  </a:extLst>
                </a:gridCol>
              </a:tblGrid>
              <a:tr h="13037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 решения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996501614"/>
                  </a:ext>
                </a:extLst>
              </a:tr>
              <a:tr h="5396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 рамках проектной работы стандарт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даптированных методик по формированию бережливой личности для школ. 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птация и создание методического инструментария  для  школы по формированию бережливой личности.</a:t>
                      </a: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311904650"/>
                  </a:ext>
                </a:extLst>
              </a:tr>
              <a:tr h="26680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зкий уровень владения  технологией бережливого производства у педагогов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 курсовой подготовки у педагогов.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курсовой подготовки у педагогов по данной проблеме.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3380093681"/>
                  </a:ext>
                </a:extLst>
              </a:tr>
              <a:tr h="5396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истемы повышения квалификации педагогов по бережливому производству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лючение ежегодно в план  повышения квалификации курсов по формированию  бережливого мышления. </a:t>
                      </a: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2211998195"/>
                  </a:ext>
                </a:extLst>
              </a:tr>
              <a:tr h="67608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личной мотивации участников процесса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понимания значимости влияния сформированности бережливого мышления на повышение качества обучения (метапредметных результатов)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2659239216"/>
                  </a:ext>
                </a:extLst>
              </a:tr>
              <a:tr h="62465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методического продукта для  обмена методик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даптированных методик по формированию бережливой личности для школ. 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птация и создание методического инструментария  для  школы по формированию бережливой лич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3565195839"/>
                  </a:ext>
                </a:extLst>
              </a:tr>
              <a:tr h="62465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уровня владения педагогами компетенциями по формированию бережливого мышления.</a:t>
                      </a: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2750665174"/>
                  </a:ext>
                </a:extLst>
              </a:tr>
              <a:tr h="76108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даптированных методик по формированию бережливой личности для школ. 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птация и создание методического инструментария  для  школы по формированию бережливой личности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3362807261"/>
                  </a:ext>
                </a:extLst>
              </a:tr>
              <a:tr h="67608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единых подходов  к контролю достижения метапредметных результатов обучающихся, способствующих повышению эффективности своей деятельности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разработанных единых критериев оценивания.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единых критериев оценивания  метапредметных результатов обучающихся, способствующих повышению эффективности своей деятельности.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2462347658"/>
                  </a:ext>
                </a:extLst>
              </a:tr>
              <a:tr h="76108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 рамках ВСОКО мероприятий по контролю за сформированностью бережливого мышления у обучающихся  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ое внимание к проблеме  формирования бережливого мышления у обучающихс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лючение ежегодно в план ВСОКО  мероприятий по контролю за сформированностью бережливого мышления у обучающихся. 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232" marR="37232" marT="0" marB="0"/>
                </a:tc>
                <a:extLst>
                  <a:ext uri="{0D108BD9-81ED-4DB2-BD59-A6C34878D82A}">
                    <a16:rowId xmlns:a16="http://schemas.microsoft.com/office/drawing/2014/main" val="20581573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292166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773827470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4457231" y="2497652"/>
            <a:ext cx="4500593" cy="380460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 algn="just">
              <a:buAutoNum type="arabicPeriod"/>
              <a:defRPr/>
            </a:pP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AutoNum type="arabicPeriod"/>
              <a:defRPr/>
            </a:pPr>
            <a:endParaRPr lang="ru-RU" sz="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alt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Tx/>
              <a:buAutoNum type="arabicPeriod"/>
              <a:defRPr/>
            </a:pP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  <a:defRPr/>
            </a:pPr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869317" y="449189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614790" y="450525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493622" y="450525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278372" y="468798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790210" y="1421781"/>
            <a:ext cx="3933152" cy="33502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, ОТСУТСТВУЮТ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813027" y="1965003"/>
            <a:ext cx="3910335" cy="32444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, ОТСУТСТВУЮТ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drawingObject1"/>
          <p:cNvPicPr/>
          <p:nvPr/>
        </p:nvPicPr>
        <p:blipFill>
          <a:blip r:embed="rId8" cstate="print"/>
          <a:stretch/>
        </p:blipFill>
        <p:spPr>
          <a:xfrm>
            <a:off x="152664" y="59070"/>
            <a:ext cx="720725" cy="926465"/>
          </a:xfrm>
          <a:prstGeom prst="rect">
            <a:avLst/>
          </a:prstGeom>
          <a:noFill/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68966" y="5014732"/>
            <a:ext cx="670618" cy="530398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87429" y="5517986"/>
            <a:ext cx="670618" cy="53039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544040" y="5556498"/>
            <a:ext cx="670618" cy="530398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2493622" y="5545130"/>
            <a:ext cx="670618" cy="530398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470968" y="5503537"/>
            <a:ext cx="670618" cy="530398"/>
          </a:xfrm>
          <a:prstGeom prst="rect">
            <a:avLst/>
          </a:prstGeom>
        </p:spPr>
      </p:pic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9E58B572-D39D-48D5-9B06-59DC20000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378015"/>
              </p:ext>
            </p:extLst>
          </p:nvPr>
        </p:nvGraphicFramePr>
        <p:xfrm>
          <a:off x="4615546" y="2668798"/>
          <a:ext cx="4204925" cy="338653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4204925">
                  <a:extLst>
                    <a:ext uri="{9D8B030D-6E8A-4147-A177-3AD203B41FA5}">
                      <a16:colId xmlns:a16="http://schemas.microsoft.com/office/drawing/2014/main" val="2266867107"/>
                    </a:ext>
                  </a:extLst>
                </a:gridCol>
              </a:tblGrid>
              <a:tr h="41671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Отсутствие в рамках проектной работы стандарта достижения метапредметных результатов обучающихся, способствующих повышению эффективности своей деятельности.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68732710"/>
                  </a:ext>
                </a:extLst>
              </a:tr>
              <a:tr h="27573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Низкий уровень владения  технологией бережливого производства у педагогов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2932769"/>
                  </a:ext>
                </a:extLst>
              </a:tr>
              <a:tr h="27573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Отсутствие системы повышения квалификации педагогов по бережливому производству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68397876"/>
                  </a:ext>
                </a:extLst>
              </a:tr>
              <a:tr h="13475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Отсутствие личной мотивации участников процесса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791921"/>
                  </a:ext>
                </a:extLst>
              </a:tr>
              <a:tr h="41671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Отсутствие методического продукта для  обмена методик достижения метапредметных результатов обучающихся, способствующих повышению эффективности своей деятель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67922910"/>
                  </a:ext>
                </a:extLst>
              </a:tr>
              <a:tr h="55768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31557956"/>
                  </a:ext>
                </a:extLst>
              </a:tr>
              <a:tr h="55768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Недостаточно в рамках организации проектной  деятельности обучающихся мероприятий направленных на достижения метапредметных результатов обучающихся, способствующих повышению эффективности своей деятельности.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2834282"/>
                  </a:ext>
                </a:extLst>
              </a:tr>
              <a:tr h="41671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Отсутствие единых подходов  к контролю достижения метапредметных результатов обучающихся, способствующих повышению эффективности своей деятельности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58183024"/>
                  </a:ext>
                </a:extLst>
              </a:tr>
              <a:tr h="27573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Отсутствие в рамках ВСОКО мероприятий по контролю за сформированностью бережливого мышления у обучающихся.  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62813948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629" y="24176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086" y="658183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75556" y="527105"/>
            <a:ext cx="81729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Карта целевого  состояния процесса формирования личностных качеств обучающихся, способствующих повышению эффективности своей деятельности  в рамках реализации работы над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оектом</a:t>
            </a:r>
            <a:endParaRPr lang="ru-RU" sz="1600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277634" y="0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2" name="drawingObject1"/>
          <p:cNvPicPr/>
          <p:nvPr/>
        </p:nvPicPr>
        <p:blipFill>
          <a:blip r:embed="rId3" cstate="print"/>
          <a:stretch/>
        </p:blipFill>
        <p:spPr>
          <a:xfrm>
            <a:off x="159544" y="23464"/>
            <a:ext cx="720725" cy="926465"/>
          </a:xfrm>
          <a:prstGeom prst="rect">
            <a:avLst/>
          </a:prstGeom>
          <a:noFill/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A7FFB90-D265-46AF-A614-BE28FA562A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83" t="26689" r="63671" b="18406"/>
          <a:stretch/>
        </p:blipFill>
        <p:spPr>
          <a:xfrm>
            <a:off x="575556" y="1495574"/>
            <a:ext cx="8064896" cy="48480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6151239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79</TotalTime>
  <Words>1767</Words>
  <Application>Microsoft Office PowerPoint</Application>
  <PresentationFormat>Экран (4:3)</PresentationFormat>
  <Paragraphs>305</Paragraphs>
  <Slides>1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4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Презентация PowerPoint</vt:lpstr>
      <vt:lpstr>Презентация PowerPoint</vt:lpstr>
      <vt:lpstr>Челябинская область</vt:lpstr>
      <vt:lpstr>Презентация PowerPoint</vt:lpstr>
      <vt:lpstr>Достигнутые результаты (было и стало) </vt:lpstr>
      <vt:lpstr>Выполнение плана реализации проекта</vt:lpstr>
      <vt:lpstr>Презентация PowerPoint</vt:lpstr>
      <vt:lpstr>Презентация PowerPoint</vt:lpstr>
      <vt:lpstr>Презентация PowerPoint</vt:lpstr>
      <vt:lpstr>Презентация PowerPoint</vt:lpstr>
      <vt:lpstr> Маршрутный лист администрации «Оптимизация процесса вовлечения в проектную деятельность обучающихся 8-9 классов для достижения метапредметных результатов, способствующих повышению эффективности своей деятельности  в МБОУ «СОШ № 45 г. Челябинска» </vt:lpstr>
      <vt:lpstr>Презентация PowerPoint</vt:lpstr>
      <vt:lpstr>Челябинская область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Сторожук.И.В</cp:lastModifiedBy>
  <cp:revision>345</cp:revision>
  <cp:lastPrinted>2023-10-09T08:19:13Z</cp:lastPrinted>
  <dcterms:created xsi:type="dcterms:W3CDTF">2018-08-20T14:01:12Z</dcterms:created>
  <dcterms:modified xsi:type="dcterms:W3CDTF">2024-11-28T11:43:46Z</dcterms:modified>
</cp:coreProperties>
</file>